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92157" autoAdjust="0"/>
  </p:normalViewPr>
  <p:slideViewPr>
    <p:cSldViewPr snapToGrid="0">
      <p:cViewPr varScale="1">
        <p:scale>
          <a:sx n="102" d="100"/>
          <a:sy n="102" d="100"/>
        </p:scale>
        <p:origin x="876" y="102"/>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1972DC78-1A73-466F-8345-BD32DA9E551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D63E6B7F-38C0-49AF-92C6-99C2FE4767B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A6B6D912-E701-43CE-AD10-44741C19137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6</c:v>
                </c:pt>
                <c:pt idx="1">
                  <c:v>0.37</c:v>
                </c:pt>
                <c:pt idx="2">
                  <c:v>0.28000000000000003</c:v>
                </c:pt>
                <c:pt idx="3">
                  <c:v>0.09</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5</c15:f>
                <c15:dlblRangeCache>
                  <c:ptCount val="4"/>
                  <c:pt idx="0">
                    <c:v>26%</c:v>
                  </c:pt>
                  <c:pt idx="1">
                    <c:v>37%</c:v>
                  </c:pt>
                  <c:pt idx="2">
                    <c:v>28%</c:v>
                  </c:pt>
                  <c:pt idx="3">
                    <c:v>9%</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55B0E257-CBCD-48AA-BC40-4E2EB8C1EE1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57DD2FC3-4A33-4258-B01E-8C87FBC1343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CA1E3C72-31BD-463D-86B2-B8ABA8077E5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3</c:v>
                </c:pt>
                <c:pt idx="2">
                  <c:v>0.49</c:v>
                </c:pt>
                <c:pt idx="3">
                  <c:v>0.36</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L$2:$L$5</c15:f>
                <c15:dlblRangeCache>
                  <c:ptCount val="4"/>
                  <c:pt idx="0">
                    <c:v>-</c:v>
                  </c:pt>
                  <c:pt idx="1">
                    <c:v>13%</c:v>
                  </c:pt>
                  <c:pt idx="2">
                    <c:v>49%</c:v>
                  </c:pt>
                  <c:pt idx="3">
                    <c:v>36%</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1</c:v>
                </c:pt>
                <c:pt idx="1">
                  <c:v>0.77</c:v>
                </c:pt>
                <c:pt idx="2">
                  <c:v>0.93</c:v>
                </c:pt>
                <c:pt idx="3">
                  <c:v>0.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EC93EBF0-D358-4743-8138-3D5B4B50A5C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8FA2E045-0ECB-490D-87A3-8D879F8D79A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34DB59A1-7F05-4C0B-A4ED-26A9C8D66D5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9</c:v>
                </c:pt>
                <c:pt idx="1">
                  <c:v>0.23</c:v>
                </c:pt>
                <c:pt idx="2">
                  <c:v>7.0000000000000007E-2</c:v>
                </c:pt>
                <c:pt idx="3">
                  <c:v>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81%</c:v>
                  </c:pt>
                  <c:pt idx="1">
                    <c:v>77%</c:v>
                  </c:pt>
                  <c:pt idx="2">
                    <c:v>93%</c:v>
                  </c:pt>
                  <c:pt idx="3">
                    <c:v>90%</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4</c:v>
                </c:pt>
                <c:pt idx="1">
                  <c:v>0</c:v>
                </c:pt>
                <c:pt idx="2">
                  <c:v>0.64</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55A0719C-9B4C-4F2E-9077-69F59947534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5CAE9B3A-379C-4465-B686-1FDF46DEC20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97B20610-E32F-4AEF-A03F-7212FEF1DA0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061EE85D-6BC2-46BD-A458-71DC4655CDE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6</c:v>
                </c:pt>
                <c:pt idx="1">
                  <c:v>0</c:v>
                </c:pt>
                <c:pt idx="2">
                  <c:v>0.36</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4%</c:v>
                  </c:pt>
                  <c:pt idx="1">
                    <c:v>-</c:v>
                  </c:pt>
                  <c:pt idx="2">
                    <c:v>64%</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5</c:v>
                </c:pt>
                <c:pt idx="1">
                  <c:v>0.83</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677A9FCD-7E25-4277-BD5A-1D8C5D38A3E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929F9803-5193-46B1-AC45-253CE895744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12FE7DE0-02BF-418F-8CAF-95345E9971F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B70CBE08-7B23-4647-B237-C5B18F392EC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5</c:v>
                </c:pt>
                <c:pt idx="1">
                  <c:v>0.17</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5%</c:v>
                  </c:pt>
                  <c:pt idx="1">
                    <c:v>83%</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4</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6ECA9782-A639-4162-8EEB-1CF3510E243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0E023919-69BF-4365-8B60-D025EC77580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6</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4%</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9%</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91</c:v>
                </c:pt>
                <c:pt idx="1">
                  <c:v>0.9</c:v>
                </c:pt>
                <c:pt idx="2">
                  <c:v>0.88</c:v>
                </c:pt>
                <c:pt idx="3">
                  <c:v>0.91</c:v>
                </c:pt>
                <c:pt idx="4">
                  <c:v>0.8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66129397-3CAF-4AF0-BA09-8C74771182C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CADDBC49-23C6-4C6B-B571-D3C0BF4B8FC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F197A5F4-2F9C-41F7-8DF0-C46089BFDDC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F040DF75-2CEF-4586-BA61-470C75784C1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09</c:v>
                </c:pt>
                <c:pt idx="1">
                  <c:v>0.1</c:v>
                </c:pt>
                <c:pt idx="2">
                  <c:v>0.12</c:v>
                </c:pt>
                <c:pt idx="3">
                  <c:v>0.09</c:v>
                </c:pt>
                <c:pt idx="4">
                  <c:v>0.1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91%</c:v>
                  </c:pt>
                  <c:pt idx="1">
                    <c:v>90%</c:v>
                  </c:pt>
                  <c:pt idx="2">
                    <c:v>88%</c:v>
                  </c:pt>
                  <c:pt idx="3">
                    <c:v>91%</c:v>
                  </c:pt>
                  <c:pt idx="4">
                    <c:v>89%</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91</c:v>
                </c:pt>
                <c:pt idx="2">
                  <c:v>0.88</c:v>
                </c:pt>
                <c:pt idx="3">
                  <c:v>0.9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6F5EC90F-C7BC-4931-9657-8ABF71EF74E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B4879CBF-4203-4251-B107-1BE57BFA8E9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F7527C9E-E8DD-4F9B-B723-275EF58CD8B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09</c:v>
                </c:pt>
                <c:pt idx="2">
                  <c:v>0.12</c:v>
                </c:pt>
                <c:pt idx="3">
                  <c:v>0.0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c:v>
                  </c:pt>
                  <c:pt idx="1">
                    <c:v>91%</c:v>
                  </c:pt>
                  <c:pt idx="2">
                    <c:v>88%</c:v>
                  </c:pt>
                  <c:pt idx="3">
                    <c:v>92%</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9</c:v>
                </c:pt>
                <c:pt idx="1">
                  <c:v>0</c:v>
                </c:pt>
                <c:pt idx="2">
                  <c:v>0.92</c:v>
                </c:pt>
                <c:pt idx="3">
                  <c:v>1</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49866E09-103A-48F7-827F-6D18217860E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DB7E66C4-DB36-41E6-8BDA-455E9AEA1A9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19AAC0FB-8236-403F-9766-F2DD3006AD2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2B3D6D61-8B99-4270-A650-B6BCFB86F26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1</c:v>
                </c:pt>
                <c:pt idx="1">
                  <c:v>0</c:v>
                </c:pt>
                <c:pt idx="2">
                  <c:v>0.08</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9%</c:v>
                  </c:pt>
                  <c:pt idx="1">
                    <c:v>-</c:v>
                  </c:pt>
                  <c:pt idx="2">
                    <c:v>92%</c:v>
                  </c:pt>
                  <c:pt idx="3">
                    <c:v>100%</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9</c:v>
                </c:pt>
                <c:pt idx="1">
                  <c:v>0.9</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96D2735C-5084-43C2-A3B0-A00F55AE6F1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2DE74FD7-29B1-4868-A809-0B28F4D2999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E0F4FC4C-925C-4344-BF1D-3CD3B3F87A1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40FF1689-D192-4E83-97EC-9B4D25469D3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c:v>
                </c:pt>
                <c:pt idx="1">
                  <c:v>0.1</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90%</c:v>
                  </c:pt>
                  <c:pt idx="1">
                    <c:v>90%</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9</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154AD28E-6A5B-4157-88A5-FF790DEBDB1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3581BFF2-E5D8-45B6-A269-EBA2E7B60C1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90%</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3</c:v>
                </c:pt>
                <c:pt idx="1">
                  <c:v>90</c:v>
                </c:pt>
                <c:pt idx="2">
                  <c:v>3</c:v>
                </c:pt>
                <c:pt idx="3">
                  <c:v>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6</c:v>
                </c:pt>
                <c:pt idx="1">
                  <c:v>2</c:v>
                </c:pt>
                <c:pt idx="2">
                  <c:v>1</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516AA431-EF9A-47B7-886C-8C08D4B41A3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B8C685E6-121E-4D2F-855A-8C8E39B2A83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28A3B791-066F-44DE-B46F-202BA62FBA1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94DFC19E-FCAC-4727-9693-CBD058A8CB3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137FE9DE-1132-4B55-B56D-11C9EA256B2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r>
                      <a:rPr lang="en-GB"/>
                      <a:t>4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9</c:v>
                </c:pt>
                <c:pt idx="1">
                  <c:v>4</c:v>
                </c:pt>
                <c:pt idx="2">
                  <c:v>2</c:v>
                </c:pt>
                <c:pt idx="3">
                  <c:v>1</c:v>
                </c:pt>
                <c:pt idx="4">
                  <c:v>3</c:v>
                </c:pt>
                <c:pt idx="5">
                  <c:v>3</c:v>
                </c:pt>
                <c:pt idx="6">
                  <c:v>4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49%</c:v>
                  </c:pt>
                  <c:pt idx="1">
                    <c:v>4%</c:v>
                  </c:pt>
                  <c:pt idx="2">
                    <c:v>2%</c:v>
                  </c:pt>
                  <c:pt idx="3">
                    <c:v>1%</c:v>
                  </c:pt>
                  <c:pt idx="4">
                    <c:v>3%</c:v>
                  </c:pt>
                  <c:pt idx="5">
                    <c:v>3%</c:v>
                  </c:pt>
                  <c:pt idx="6">
                    <c:v>44%p</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39C10A5D-16DB-42C5-8452-72B83B9E479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17FE5E91-5052-4106-B48B-70BFEA2E3DA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F2A8B454-7E94-49A2-8DAD-346FBB23740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F9DA7FAA-EC3D-4F82-9457-995427E1DD5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23A3895C-9AAF-466B-88D3-C555421A33F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C6999BAB-75B9-4ADE-B6F5-B907AAE93BA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9</c:v>
                </c:pt>
                <c:pt idx="1">
                  <c:v>8</c:v>
                </c:pt>
                <c:pt idx="2">
                  <c:v>4</c:v>
                </c:pt>
                <c:pt idx="3">
                  <c:v>2</c:v>
                </c:pt>
                <c:pt idx="4">
                  <c:v>16</c:v>
                </c:pt>
                <c:pt idx="5">
                  <c:v>4</c:v>
                </c:pt>
                <c:pt idx="6">
                  <c:v>3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49%</c:v>
                  </c:pt>
                  <c:pt idx="1">
                    <c:v>8%</c:v>
                  </c:pt>
                  <c:pt idx="2">
                    <c:v>4%</c:v>
                  </c:pt>
                  <c:pt idx="3">
                    <c:v>2%</c:v>
                  </c:pt>
                  <c:pt idx="4">
                    <c:v>16%</c:v>
                  </c:pt>
                  <c:pt idx="5">
                    <c:v>4%</c:v>
                  </c:pt>
                  <c:pt idx="6">
                    <c:v>35%</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8CBAFCE2-2070-4F8B-858A-428580B34EB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CDCD94AB-D911-454E-9927-7F0849E89DA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3</c:v>
                </c:pt>
                <c:pt idx="1">
                  <c:v>8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3%</c:v>
                  </c:pt>
                  <c:pt idx="1">
                    <c:v>87%</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7D5CF112-A45E-4357-BD7E-BA45D153E53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3-EF04-40F3-B91F-C8C4FA5B6E26}"/>
                </c:ext>
              </c:extLst>
            </c:dLbl>
            <c:dLbl>
              <c:idx val="1"/>
              <c:tx>
                <c:rich>
                  <a:bodyPr/>
                  <a:lstStyle/>
                  <a:p>
                    <a:r>
                      <a:rPr lang="en-GB"/>
                      <a:t>9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c:v>
                </c:pt>
                <c:pt idx="1">
                  <c:v>9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q</c:v>
                  </c:pt>
                  <c:pt idx="1">
                    <c:v>92%p</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C1A62A8D-8488-4003-AB2B-57842616A64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D9A282C4-AFD6-4059-9A1E-29086C26381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2</c:v>
                </c:pt>
                <c:pt idx="1">
                  <c:v>7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2%</c:v>
                  </c:pt>
                  <c:pt idx="1">
                    <c:v>78%</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B8794B9D-F9A1-4BDF-AB09-ACE8ED0461F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E1CC2501-95E0-41F5-AC5E-D5DF6928F04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A649DF32-E9F5-4959-8236-DE33033B0A2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1146C11A-C317-4703-873E-5B2D52D3E83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7999999999999996</c:v>
                </c:pt>
                <c:pt idx="1">
                  <c:v>0.41</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58%</c:v>
                  </c:pt>
                  <c:pt idx="1">
                    <c:v>41%</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8B598B03-84D2-4CB4-BAE8-4E2225564E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FC58432E-1A25-4982-A3E7-785B45C2877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7B37BCD7-0FF0-44E9-8C7E-E1EF6BA41E1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C9BB2315-BB79-47D7-B753-34F3F337698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6999999999999995</c:v>
                </c:pt>
                <c:pt idx="1">
                  <c:v>0.42</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7%</c:v>
                  </c:pt>
                  <c:pt idx="1">
                    <c:v>42%</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60DA56C9-252A-4969-9130-6ED5C30AF7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904165E8-F3F1-47F5-BA34-54F141DAB71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2</c:v>
                </c:pt>
                <c:pt idx="1">
                  <c:v>7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2%</c:v>
                  </c:pt>
                  <c:pt idx="1">
                    <c:v>78%</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96B3B185-219D-4554-8138-0C0E96D70A5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72F727BD-E7EE-4113-B33F-BE638D9E32A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c:v>
                </c:pt>
                <c:pt idx="1">
                  <c:v>9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c:v>
                  </c:pt>
                  <c:pt idx="1">
                    <c:v>97%</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BAFF4D1C-FFE1-4F5B-B1A3-960B8CC0B1D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41279943-5DBD-46C9-8854-C93AC70313A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c:v>
                </c:pt>
                <c:pt idx="1">
                  <c:v>9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c:v>
                  </c:pt>
                  <c:pt idx="1">
                    <c:v>93%</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D23C7944-6179-4A47-AD97-DFD59F1C45B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CC907FAB-B2EC-4051-A791-55E5E69AE7C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r>
                      <a:rPr lang="en-GB"/>
                      <a:t>8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3EB-456C-B74D-581899DAC290}"/>
                </c:ext>
              </c:extLst>
            </c:dLbl>
            <c:dLbl>
              <c:idx val="3"/>
              <c:tx>
                <c:rich>
                  <a:bodyPr/>
                  <a:lstStyle/>
                  <a:p>
                    <a:r>
                      <a:rPr lang="en-GB"/>
                      <a:t>7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3EB-456C-B74D-581899DAC290}"/>
                </c:ext>
              </c:extLst>
            </c:dLbl>
            <c:dLbl>
              <c:idx val="4"/>
              <c:tx>
                <c:rich>
                  <a:bodyPr/>
                  <a:lstStyle/>
                  <a:p>
                    <a:fld id="{9662ACAB-B045-4FB9-BD65-C4B42F0C4F1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0AB3D268-3FB0-4C00-AC7A-F8CC0DF73B4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181F9B65-08FB-452B-94DF-6183EF5517C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2</c:v>
                </c:pt>
                <c:pt idx="1">
                  <c:v>91</c:v>
                </c:pt>
                <c:pt idx="2">
                  <c:v>85</c:v>
                </c:pt>
                <c:pt idx="3">
                  <c:v>78</c:v>
                </c:pt>
                <c:pt idx="4">
                  <c:v>92</c:v>
                </c:pt>
                <c:pt idx="5">
                  <c:v>30</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2%</c:v>
                  </c:pt>
                  <c:pt idx="1">
                    <c:v>91%</c:v>
                  </c:pt>
                  <c:pt idx="2">
                    <c:v>85%p</c:v>
                  </c:pt>
                  <c:pt idx="3">
                    <c:v>78%p</c:v>
                  </c:pt>
                  <c:pt idx="4">
                    <c:v>92%</c:v>
                  </c:pt>
                  <c:pt idx="5">
                    <c:v>30%</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84C6C8D4-129F-40B2-A9E7-77E9EE4D6C6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F238B7F7-9520-4134-82C9-50521BA5D0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D14680FD-67FF-4F34-A481-5D0CF4F418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fld id="{548D7E00-DF69-4124-8A62-C651E739BBB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6E0AFB7A-B854-438D-B18E-5F12FD23322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CDF11A70-5258-46DA-8C33-B7A5020072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0F12C2A8-169C-4B59-BA1F-FF87D40AB9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0</c:v>
                </c:pt>
                <c:pt idx="1">
                  <c:v>86</c:v>
                </c:pt>
                <c:pt idx="2">
                  <c:v>70</c:v>
                </c:pt>
                <c:pt idx="3">
                  <c:v>69</c:v>
                </c:pt>
                <c:pt idx="4">
                  <c:v>89</c:v>
                </c:pt>
                <c:pt idx="5">
                  <c:v>40</c:v>
                </c:pt>
                <c:pt idx="6">
                  <c:v>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0%</c:v>
                  </c:pt>
                  <c:pt idx="1">
                    <c:v>86%</c:v>
                  </c:pt>
                  <c:pt idx="2">
                    <c:v>70%</c:v>
                  </c:pt>
                  <c:pt idx="3">
                    <c:v>69%</c:v>
                  </c:pt>
                  <c:pt idx="4">
                    <c:v>89%</c:v>
                  </c:pt>
                  <c:pt idx="5">
                    <c:v>40%</c:v>
                  </c:pt>
                  <c:pt idx="6">
                    <c:v>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7</c:v>
                </c:pt>
                <c:pt idx="1">
                  <c:v>31</c:v>
                </c:pt>
                <c:pt idx="2">
                  <c:v>9</c:v>
                </c:pt>
                <c:pt idx="3">
                  <c:v>3</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4</c:v>
                </c:pt>
                <c:pt idx="1">
                  <c:v>35</c:v>
                </c:pt>
                <c:pt idx="2">
                  <c:v>12</c:v>
                </c:pt>
                <c:pt idx="3">
                  <c:v>6</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A5E1397D-261F-4D6C-BB74-4604F395995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238AA7D7-EB0B-46DD-AC24-002D5A2E103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1</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100%</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2713181E-1B89-492C-BDC2-1EABDF222D7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F0E2A91A-7CCB-4A73-B845-91DAA7E7DEB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9</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99%</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6</c:v>
                </c:pt>
                <c:pt idx="1">
                  <c:v>22</c:v>
                </c:pt>
                <c:pt idx="2">
                  <c:v>7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6</c:v>
                </c:pt>
                <c:pt idx="1">
                  <c:v>56</c:v>
                </c:pt>
                <c:pt idx="2">
                  <c:v>3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8</c:v>
                </c:pt>
                <c:pt idx="1">
                  <c:v>12</c:v>
                </c:pt>
                <c:pt idx="2">
                  <c:v>32</c:v>
                </c:pt>
                <c:pt idx="3">
                  <c:v>20</c:v>
                </c:pt>
                <c:pt idx="4">
                  <c:v>2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22</c:v>
                </c:pt>
                <c:pt idx="2">
                  <c:v>18</c:v>
                </c:pt>
                <c:pt idx="3">
                  <c:v>19</c:v>
                </c:pt>
                <c:pt idx="4">
                  <c:v>2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01</c:v>
                </c:pt>
                <c:pt idx="1">
                  <c:v>8.6999999999999994E-2</c:v>
                </c:pt>
                <c:pt idx="2">
                  <c:v>0.154</c:v>
                </c:pt>
                <c:pt idx="3">
                  <c:v>0.28399999999999997</c:v>
                </c:pt>
                <c:pt idx="4">
                  <c:v>0.4650000000000000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1.4999999999999999E-2</c:v>
                </c:pt>
                <c:pt idx="1">
                  <c:v>0.124</c:v>
                </c:pt>
                <c:pt idx="2">
                  <c:v>0.16900000000000001</c:v>
                </c:pt>
                <c:pt idx="3">
                  <c:v>0.26900000000000002</c:v>
                </c:pt>
                <c:pt idx="4">
                  <c:v>0.4229999999999999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5</c:v>
                </c:pt>
                <c:pt idx="1">
                  <c:v>10</c:v>
                </c:pt>
                <c:pt idx="2">
                  <c:v>28</c:v>
                </c:pt>
                <c:pt idx="3">
                  <c:v>20</c:v>
                </c:pt>
                <c:pt idx="4">
                  <c:v>3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7</c:v>
                </c:pt>
                <c:pt idx="1">
                  <c:v>13</c:v>
                </c:pt>
                <c:pt idx="2">
                  <c:v>22</c:v>
                </c:pt>
                <c:pt idx="3">
                  <c:v>22</c:v>
                </c:pt>
                <c:pt idx="4">
                  <c:v>3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9</c:v>
                </c:pt>
                <c:pt idx="1">
                  <c:v>22</c:v>
                </c:pt>
                <c:pt idx="2">
                  <c:v>26</c:v>
                </c:pt>
                <c:pt idx="3">
                  <c:v>22</c:v>
                </c:pt>
                <c:pt idx="4">
                  <c:v>2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1</c:v>
                </c:pt>
                <c:pt idx="1">
                  <c:v>25</c:v>
                </c:pt>
                <c:pt idx="2">
                  <c:v>18</c:v>
                </c:pt>
                <c:pt idx="3">
                  <c:v>16</c:v>
                </c:pt>
                <c:pt idx="4">
                  <c:v>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57E4D868-1154-4006-8041-13F25787A41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1B3AFA79-93E3-4DD2-A731-19241A9E084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9F4C1A82-ACE4-47E8-B327-9B50A274767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62348757-EA17-4928-B42E-542962DDFB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3</c:v>
                </c:pt>
                <c:pt idx="1">
                  <c:v>0</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93%</c:v>
                  </c:pt>
                  <c:pt idx="1">
                    <c:v>-</c:v>
                  </c:pt>
                  <c:pt idx="2">
                    <c:v>-</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05762A8C-C438-406E-A551-1A027776FBE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4E479289-110B-4625-8DF2-FE22399B76A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FC4FAF88-5EA8-4ED7-99AE-F7EBFCD128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46B06CA2-E258-4C04-A3C8-2286B838D61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81</c:v>
                </c:pt>
                <c:pt idx="1">
                  <c:v>0</c:v>
                </c:pt>
                <c:pt idx="2">
                  <c:v>0.13</c:v>
                </c:pt>
                <c:pt idx="3">
                  <c:v>0.03</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81%</c:v>
                  </c:pt>
                  <c:pt idx="1">
                    <c:v>-</c:v>
                  </c:pt>
                  <c:pt idx="2">
                    <c:v>13%</c:v>
                  </c:pt>
                  <c:pt idx="3">
                    <c:v>3%</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6</c:v>
                </c:pt>
                <c:pt idx="1">
                  <c:v>8</c:v>
                </c:pt>
                <c:pt idx="2">
                  <c:v>22</c:v>
                </c:pt>
                <c:pt idx="3">
                  <c:v>22</c:v>
                </c:pt>
                <c:pt idx="4">
                  <c:v>4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4</c:v>
                </c:pt>
                <c:pt idx="1">
                  <c:v>14</c:v>
                </c:pt>
                <c:pt idx="2">
                  <c:v>26</c:v>
                </c:pt>
                <c:pt idx="3">
                  <c:v>17</c:v>
                </c:pt>
                <c:pt idx="4">
                  <c:v>2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6</c:v>
                </c:pt>
                <c:pt idx="1">
                  <c:v>23</c:v>
                </c:pt>
                <c:pt idx="2">
                  <c:v>43</c:v>
                </c:pt>
                <c:pt idx="3">
                  <c:v>2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1</c:v>
                </c:pt>
                <c:pt idx="1">
                  <c:v>35</c:v>
                </c:pt>
                <c:pt idx="2">
                  <c:v>37</c:v>
                </c:pt>
                <c:pt idx="3">
                  <c:v>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4</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0</c:v>
                </c:pt>
                <c:pt idx="1">
                  <c:v>39</c:v>
                </c:pt>
                <c:pt idx="2">
                  <c:v>14</c:v>
                </c:pt>
                <c:pt idx="3">
                  <c:v>5</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6</c:v>
                </c:pt>
                <c:pt idx="1">
                  <c:v>25</c:v>
                </c:pt>
                <c:pt idx="2">
                  <c:v>5</c:v>
                </c:pt>
                <c:pt idx="3">
                  <c:v>3</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7</c:v>
                </c:pt>
                <c:pt idx="1">
                  <c:v>49</c:v>
                </c:pt>
                <c:pt idx="2">
                  <c:v>11</c:v>
                </c:pt>
                <c:pt idx="3">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29</c:v>
                </c:pt>
                <c:pt idx="1">
                  <c:v>52</c:v>
                </c:pt>
                <c:pt idx="2">
                  <c:v>16</c:v>
                </c:pt>
                <c:pt idx="3">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9</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B844EF19-E9D6-452C-8FF6-56EE7296F47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A0A2D9DA-7CFE-4B71-BA23-27E52D7132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5E0360B1-D254-4DB1-A8F1-0869C875EC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7%</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4E5E-4713-BCB6-17010B447163}"/>
                </c:ext>
              </c:extLst>
            </c:dLbl>
            <c:dLbl>
              <c:idx val="1"/>
              <c:tx>
                <c:rich>
                  <a:bodyPr/>
                  <a:lstStyle/>
                  <a:p>
                    <a:r>
                      <a:rPr lang="en-GB"/>
                      <a:t>13%</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7</c:v>
                </c:pt>
                <c:pt idx="1">
                  <c:v>1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7%p</c:v>
                  </c:pt>
                  <c:pt idx="1">
                    <c:v>13%q</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FD381BE3-D53D-447A-B819-8E13E7C8421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DD56137D-BEC1-4756-8F57-C4316AC41D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7</c:v>
                </c:pt>
                <c:pt idx="1">
                  <c:v>4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7%</c:v>
                  </c:pt>
                  <c:pt idx="1">
                    <c:v>43%</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53CB91B6-1AEB-4646-BDD4-BA75A4449A3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5365692B-D56A-4527-9F83-C702B721DC8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8%</c:v>
                  </c:pt>
                  <c:pt idx="1">
                    <c:v>22%</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AB0F5A7F-8704-4D3C-99A2-3F973F960C1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04AC45EF-C125-42E1-AF2E-1DA3FEBC964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5</c:v>
                </c:pt>
                <c:pt idx="1">
                  <c:v>6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5%</c:v>
                  </c:pt>
                  <c:pt idx="1">
                    <c:v>65%</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C8E1FBD8-4B44-4873-8206-943BB90CDA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56AB69B1-9026-4696-87A6-97C18DB5CE7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4</c:v>
                </c:pt>
                <c:pt idx="1">
                  <c:v>5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4%</c:v>
                  </c:pt>
                  <c:pt idx="1">
                    <c:v>56%</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B7EABB8C-52EB-47B4-942F-D127A7812BE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FE0A1F01-238C-40BB-ABE0-5D70AF62EFA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4</c:v>
                </c:pt>
                <c:pt idx="1">
                  <c:v>5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4%</c:v>
                  </c:pt>
                  <c:pt idx="1">
                    <c:v>56%</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E95DB093-B8E7-4770-AF7F-68669B0EC06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DBB18C2C-2DBF-4633-AEB3-E6939179523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4</c:v>
                </c:pt>
                <c:pt idx="1">
                  <c:v>6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4%</c:v>
                  </c:pt>
                  <c:pt idx="1">
                    <c:v>66%</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368845C0-E584-4BDA-B1C6-C0FA8AD3F3C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86%</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4F3E-4C45-9DAC-B2929C4B2C23}"/>
                </c:ext>
              </c:extLst>
            </c:dLbl>
            <c:dLbl>
              <c:idx val="1"/>
              <c:tx>
                <c:rich>
                  <a:bodyPr/>
                  <a:lstStyle/>
                  <a:p>
                    <a:r>
                      <a:rPr lang="en-GB"/>
                      <a:t>1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6</c:v>
                </c:pt>
                <c:pt idx="1">
                  <c:v>1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6%p</c:v>
                  </c:pt>
                  <c:pt idx="1">
                    <c:v>14%q</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3DC44FF9-EB74-4194-AF30-740325BC99C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BCFDEBD2-6CBF-4433-A4F1-796B056C801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DD10A47D-F785-4137-8E43-370352414A5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45AB7676-75DD-4F1E-85FF-040B064EE2E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3</c:v>
                </c:pt>
                <c:pt idx="1">
                  <c:v>3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3%</c:v>
                  </c:pt>
                  <c:pt idx="1">
                    <c:v>37%</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29EA6AF5-525C-4CF7-A0AE-1DCD7556183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8A8733A0-0766-4348-A986-4B42A6BE38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3</c:v>
                </c:pt>
                <c:pt idx="1">
                  <c:v>4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3%</c:v>
                  </c:pt>
                  <c:pt idx="1">
                    <c:v>47%</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099B9734-F6A7-4DBF-8F8F-F371BCA3151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4D0C3498-BCF5-4617-8E35-C29978B5229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8%</c:v>
                  </c:pt>
                  <c:pt idx="1">
                    <c:v>22%</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B31B5B28-EB1B-4B9A-B485-1AAA5B53AD9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60FAC17B-B832-47B7-A062-CA7AB3C0CDE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2</c:v>
                </c:pt>
                <c:pt idx="1">
                  <c:v>39</c:v>
                </c:pt>
                <c:pt idx="2">
                  <c:v>1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0</c:v>
                </c:pt>
                <c:pt idx="1">
                  <c:v>50</c:v>
                </c:pt>
                <c:pt idx="2">
                  <c:v>1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r>
                      <a:rPr lang="en-GB"/>
                      <a:t>3%</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7519-4C1F-9643-9A55D10271AC}"/>
                </c:ext>
              </c:extLst>
            </c:dLbl>
            <c:dLbl>
              <c:idx val="2"/>
              <c:tx>
                <c:rich>
                  <a:bodyPr/>
                  <a:lstStyle/>
                  <a:p>
                    <a:fld id="{F8A9F5D9-95FF-4A45-BA01-4E9032DEFD6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454A3B4F-4005-4441-AF6B-A93FBE2E330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5E3690C9-2F1C-48DE-8EE5-822274C35AA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F74944D9-6965-4925-9E91-CDC0FA2BDA3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C1826BD7-8F16-45F5-B12C-E2D98421A1A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5</c:v>
                </c:pt>
                <c:pt idx="1">
                  <c:v>3</c:v>
                </c:pt>
                <c:pt idx="2">
                  <c:v>61</c:v>
                </c:pt>
                <c:pt idx="3">
                  <c:v>31</c:v>
                </c:pt>
                <c:pt idx="4">
                  <c:v>21</c:v>
                </c:pt>
                <c:pt idx="5">
                  <c:v>17</c:v>
                </c:pt>
                <c:pt idx="6">
                  <c:v>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65%</c:v>
                  </c:pt>
                  <c:pt idx="1">
                    <c:v>3%q</c:v>
                  </c:pt>
                  <c:pt idx="2">
                    <c:v>61%</c:v>
                  </c:pt>
                  <c:pt idx="3">
                    <c:v>31%</c:v>
                  </c:pt>
                  <c:pt idx="4">
                    <c:v>21%</c:v>
                  </c:pt>
                  <c:pt idx="5">
                    <c:v>17%</c:v>
                  </c:pt>
                  <c:pt idx="6">
                    <c:v>6%</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55AA9FFB-3FAD-46EE-807B-5B3AC09A070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CEC93F14-A62A-4F94-A1FE-78B3FD88C8B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7B464173-2326-4F4F-A506-DAF553288B7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4AD9FE28-87CA-42DD-A907-4DFB64960D6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01D34CC6-FB0E-49FC-B977-526103CBA8B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BDA6ED7D-06F8-45A8-9C46-8D601AD00DB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5</c:v>
                </c:pt>
                <c:pt idx="1">
                  <c:v>18</c:v>
                </c:pt>
                <c:pt idx="2">
                  <c:v>33</c:v>
                </c:pt>
                <c:pt idx="3">
                  <c:v>45</c:v>
                </c:pt>
                <c:pt idx="4">
                  <c:v>11</c:v>
                </c:pt>
                <c:pt idx="5">
                  <c:v>13</c:v>
                </c:pt>
                <c:pt idx="6">
                  <c:v>1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25%</c:v>
                  </c:pt>
                  <c:pt idx="1">
                    <c:v>18%</c:v>
                  </c:pt>
                  <c:pt idx="2">
                    <c:v>33%</c:v>
                  </c:pt>
                  <c:pt idx="3">
                    <c:v>45%</c:v>
                  </c:pt>
                  <c:pt idx="4">
                    <c:v>11%</c:v>
                  </c:pt>
                  <c:pt idx="5">
                    <c:v>13%</c:v>
                  </c:pt>
                  <c:pt idx="6">
                    <c:v>14%</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4</c:v>
                </c:pt>
                <c:pt idx="1">
                  <c:v>39</c:v>
                </c:pt>
                <c:pt idx="2">
                  <c:v>6</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60</c:v>
                </c:pt>
                <c:pt idx="1">
                  <c:v>35</c:v>
                </c:pt>
                <c:pt idx="2">
                  <c:v>4</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4</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4%</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c:v>
                </c:pt>
                <c:pt idx="1">
                  <c:v>0.76</c:v>
                </c:pt>
                <c:pt idx="2">
                  <c:v>0.91</c:v>
                </c:pt>
                <c:pt idx="3">
                  <c:v>0.89</c:v>
                </c:pt>
                <c:pt idx="4">
                  <c:v>0.8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843E8976-84F2-415C-8C80-579CA7F63BC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A0835B9C-367B-4559-A979-7E870D9CFA5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885262E4-147C-4AB7-AE8A-330660ABBE9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6C55AF68-A523-4393-BEDE-01609D28044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c:v>
                </c:pt>
                <c:pt idx="1">
                  <c:v>0.24</c:v>
                </c:pt>
                <c:pt idx="2">
                  <c:v>0.09</c:v>
                </c:pt>
                <c:pt idx="3">
                  <c:v>0.11</c:v>
                </c:pt>
                <c:pt idx="4">
                  <c:v>0.1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c:v>
                  </c:pt>
                  <c:pt idx="1">
                    <c:v>76%</c:v>
                  </c:pt>
                  <c:pt idx="2">
                    <c:v>91%</c:v>
                  </c:pt>
                  <c:pt idx="3">
                    <c:v>89%</c:v>
                  </c:pt>
                  <c:pt idx="4">
                    <c:v>82%</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URREY HEARTLANDS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URREY HEARTLANDS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URREY HEARTLANDS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URREY HEARTLANDS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URREY HEARTLANDS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100" b="0" dirty="0">
                <a:solidFill>
                  <a:prstClr val="white"/>
                </a:solidFill>
                <a:latin typeface="Arial Black" panose="020B0A04020102020204" pitchFamily="34" charset="0"/>
              </a:rPr>
              <a:t>SURREY HEARTLANDS INTEGRATED CARE SYSTEM</a:t>
            </a:r>
            <a:endParaRPr lang="en-GB" sz="31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23021321"/>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sharing information about diabetes at the time of diagnosis
Having a foot check as part of their last annual review
Having a urine test as part of their last annual review
Describing their experience at the last annual review as good</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01019138"/>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615808416"/>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support from other people living with diabete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522593054"/>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SURREY HEARTLANDS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66623438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62269626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6% of respondents who were marked as Type 1 in the sample selected ‘Type 1’, 2% selected ‘Type 2’, 1% selected ‘Other’ and 1% selected ‘I don’t know’ ​</a:t>
            </a:r>
          </a:p>
          <a:p>
            <a:pPr marL="171450" indent="-171450">
              <a:buFont typeface="Arial" panose="020B0604020202020204" pitchFamily="34" charset="0"/>
              <a:buChar char="•"/>
              <a:defRPr/>
            </a:pPr>
            <a:r>
              <a:rPr lang="en-GB" sz="1200" dirty="0">
                <a:solidFill>
                  <a:schemeClr val="tx1"/>
                </a:solidFill>
                <a:effectLst/>
              </a:rPr>
              <a:t>90% of respondents who were marked as Type 2 in the sample selected ‘Type 2’, 3% selected ‘Type 1’, 3% selected ‘Other’ and 5%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38); Type 2, ICS (567)).</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138960921"/>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302456722"/>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3162738845"/>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3442639405"/>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146101378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90); Type 2, National (19,941), ICS (477))</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355245673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347735616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94); Type 2, National (22,278), ICS (507))</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370425566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80893981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48); Type 2, National (21,082), ICS (504))</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169214873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166714976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36); Type 2, National (24,180), ICS (565))</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993720328"/>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718554341"/>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307628073"/>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1496482586"/>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389059250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16); Type 2, National (22,482), ICS (523))</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90521277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313171065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139380914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190060358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124928913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403892636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92937737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59029767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192287827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23); Type 2, National (22,670), ICS (525))</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353368867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85331993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155608423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360510730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89953342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69270942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138431969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118599899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186624090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35); Type 2, National (24,076), ICS (559))</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180992317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938715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124552354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79499386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193969005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56438240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127878603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245281257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37); Type 2, National (24,153), ICS (558))</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6014990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60975517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120158431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27448423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230086566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145673922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124444656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196181527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172966579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37); Type 2, National (24,135), ICS (559))</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340352853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355144461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355342741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365756705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348685680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238119182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316096059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111513871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108224709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37); Type 2, National (24,084), ICS (557))</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46274164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408849754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181645671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377338821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330352330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363742733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96114506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258697920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29962642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37); Type 2, National (24,070), ICS (559))</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221374213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60903818"/>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321450403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3750369628"/>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1802010282"/>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261930042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1132945220"/>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238477815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391166856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36); Type 2, National (24,260), ICS (565))</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330222794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45697025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409939466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73881559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25830351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358948800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346853961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425177766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150916073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36); Type 2, National (24,267), ICS (564))</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13320200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46816843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322967060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332992703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346913684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347651473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230957884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84880539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237440708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38); Type 2, National (24,196), ICS (563))</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379586903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75153634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281668190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36); Type 2, National (24,019), ICS (560))</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45564356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246881341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98); Type 2, National (11,860), ICS (285))</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253453349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207697442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426); Type 2, National (21,228), ICS (496))</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196835398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17803523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410); Type 2, National (20,915), ICS (487))</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376043931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220401585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85); Type 2, National (20,086), ICS (457))</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9361597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293831258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401); Type 2, National (21,890), ICS (504))</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393768093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48998505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81); Type 2, National (18,585), ICS (427))</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346523983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134611067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422188133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320120729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397440242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423249917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159624968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173345772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424); Type 2, National (22,580), ICS (521))</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335523973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2100198690"/>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406483041"/>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3646288084"/>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2457199149"/>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392980460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321); Type 2, National (12,350), ICS (277))</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198961205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821429518"/>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241727740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187919551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315570538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357017307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1805771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117476197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424); Type 2, National (10,911), ICS (257))</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95967577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016355882"/>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712749230"/>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196216460"/>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2036136987"/>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243822345"/>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222799038"/>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419))</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620229121"/>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459282798"/>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413884805"/>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4054643725"/>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984968554"/>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941189219"/>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21))</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SURREY HEARTLANDS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460</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1,008</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1%</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38</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70</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986</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474</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3630008759"/>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4164907754"/>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1690383448"/>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3037130733"/>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3918749756"/>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2596631834"/>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640212841"/>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SURREY HEARTLANDS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768262834"/>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Participating in a course about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20877351"/>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756120040"/>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in taking part in physical activity</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87066762"/>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3.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2</TotalTime>
  <Words>5292</Words>
  <Application>Microsoft Office PowerPoint</Application>
  <PresentationFormat>Widescreen</PresentationFormat>
  <Paragraphs>807</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Arial (Body)</vt:lpstr>
      <vt:lpstr>Roboto</vt:lpstr>
      <vt:lpstr>Wingdings</vt:lpstr>
      <vt:lpstr>Arial Black</vt:lpstr>
      <vt:lpstr>Barlow</vt:lpstr>
      <vt:lpstr>Arial</vt:lpstr>
      <vt:lpstr>Wingdings 3</vt:lpstr>
      <vt:lpstr>HelveticaNeueLT Std Lt Cn</vt:lpstr>
      <vt:lpstr>Segoe UI</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Katherine Fisher</cp:lastModifiedBy>
  <cp:revision>173</cp:revision>
  <cp:lastPrinted>2024-09-17T13:37:47Z</cp:lastPrinted>
  <dcterms:created xsi:type="dcterms:W3CDTF">2024-06-17T14:42:21Z</dcterms:created>
  <dcterms:modified xsi:type="dcterms:W3CDTF">2024-12-04T10:1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